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4" r:id="rId1"/>
    <p:sldMasterId id="2147483799" r:id="rId2"/>
  </p:sldMasterIdLst>
  <p:notesMasterIdLst>
    <p:notesMasterId r:id="rId13"/>
  </p:notesMasterIdLst>
  <p:sldIdLst>
    <p:sldId id="412" r:id="rId3"/>
    <p:sldId id="413" r:id="rId4"/>
    <p:sldId id="414" r:id="rId5"/>
    <p:sldId id="415" r:id="rId6"/>
    <p:sldId id="416" r:id="rId7"/>
    <p:sldId id="417" r:id="rId8"/>
    <p:sldId id="418" r:id="rId9"/>
    <p:sldId id="419" r:id="rId10"/>
    <p:sldId id="420" r:id="rId11"/>
    <p:sldId id="421" r:id="rId12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534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F84CCA-A30A-4CCC-85D0-3C00C612586A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072A3E-D622-4E59-A9CA-97E05D7841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5795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Good morning. </a:t>
            </a:r>
          </a:p>
          <a:p>
            <a:endParaRPr/>
          </a:p>
          <a:p>
            <a:r>
              <a:t>On behalf of the authors, I would like to thank the organizers for accepting our paper at BASSH. </a:t>
            </a:r>
          </a:p>
          <a:p>
            <a:endParaRPr/>
          </a:p>
          <a:p>
            <a:r>
              <a:t>It is indeed a privilege to present at this prestigious conference.</a:t>
            </a:r>
          </a:p>
          <a:p>
            <a:endParaRPr/>
          </a:p>
          <a:p>
            <a:r>
              <a:t>I hope that this study will lead to a lively discourse about reducing ano-rectal gonococcal transmission.</a:t>
            </a:r>
          </a:p>
          <a:p>
            <a:endParaRPr/>
          </a:p>
          <a:p>
            <a:r>
              <a:t>It is timely as well, seeing that we are looking at global worldwide antibiotic resistant strains of the gonococcus.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Shape 54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5" name="Shape 55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Understanding the transmission of gonorrhoea in MSM is the key to its successful control.</a:t>
            </a:r>
          </a:p>
          <a:p>
            <a:endParaRPr/>
          </a:p>
          <a:p>
            <a:r>
              <a:t>Gonorrhoea transmission is still occurring in the absence of UPAS</a:t>
            </a:r>
          </a:p>
          <a:p>
            <a:endParaRPr/>
          </a:p>
          <a:p>
            <a:r>
              <a:t>If however, the penis is not solely involved in the acquisition of anal gonorrhoea, an alternative explanation is required</a:t>
            </a:r>
          </a:p>
          <a:p>
            <a:endParaRPr/>
          </a:p>
          <a:p>
            <a:r>
              <a:t>Saliva use as a lubricant for anal sex is common practice among MSM</a:t>
            </a:r>
          </a:p>
          <a:p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60" name="Shape 60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  <a:p>
            <a:r>
              <a:t>Very little is known about the role of saliva in the transmission of STIs</a:t>
            </a:r>
          </a:p>
          <a:p>
            <a:endParaRPr/>
          </a:p>
          <a:p>
            <a:r>
              <a:t>We aimed to quantify the proportion of MSM engaged in other anal sexual practices (rimming, fingering and use of partner’s saliva as a lubricant for anal sex.)</a:t>
            </a:r>
          </a:p>
          <a:p>
            <a:endParaRPr/>
          </a:p>
          <a:p>
            <a:r>
              <a:t>And I am not talking about Caroline’s quite mistaken notion of wetting the rim of a glass and making a tune</a:t>
            </a:r>
          </a:p>
          <a:p>
            <a:endParaRPr/>
          </a:p>
          <a:p>
            <a:r>
              <a:t>Previous to this study, we had found that gonorrhoea was present in saliva on culture up to 14 days of positivity.</a:t>
            </a:r>
          </a:p>
          <a:p>
            <a:endParaRPr/>
          </a:p>
          <a:p>
            <a:r>
              <a:t>I invite you to view this poster on this at P085</a:t>
            </a:r>
          </a:p>
          <a:p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his was a cross sectional study conducted at the Melbourne Sexual Health Centre for 12 mths in 2014 / 2015.</a:t>
            </a:r>
          </a:p>
          <a:p>
            <a:endParaRPr/>
          </a:p>
          <a:p>
            <a:endParaRPr/>
          </a:p>
          <a:p>
            <a:r>
              <a:t>CASI is a Computer Assisted Sexual Self Interview which is completed at initial registration and 3 monthly</a:t>
            </a:r>
          </a:p>
          <a:p>
            <a:endParaRPr/>
          </a:p>
          <a:p>
            <a:r>
              <a:t>MSM who were required to do CASI were invited to answer an additional sex questions</a:t>
            </a:r>
          </a:p>
          <a:p>
            <a:endParaRPr/>
          </a:p>
          <a:p>
            <a:endParaRPr/>
          </a:p>
          <a:p>
            <a:endParaRPr/>
          </a:p>
          <a:p>
            <a:endParaRPr/>
          </a:p>
          <a:p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hape 70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1" name="Shape 71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In the period of the study, over 6400 men completed CASI.</a:t>
            </a:r>
          </a:p>
          <a:p>
            <a:endParaRPr/>
          </a:p>
          <a:p>
            <a:r>
              <a:t>Of these half declined to participate</a:t>
            </a:r>
          </a:p>
          <a:p>
            <a:endParaRPr/>
          </a:p>
          <a:p>
            <a:r>
              <a:t>Of the remaining 2500, 1312 were tested for anal gonorrhoea.</a:t>
            </a:r>
          </a:p>
          <a:p>
            <a:endParaRPr/>
          </a:p>
          <a:p>
            <a:r>
              <a:t>The positivity of anal gono was 4.3% 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8" name="Shape 78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Of the 1312 men, the median number of sex partners in the last 3 months was 3 (IQR 2-5).</a:t>
            </a:r>
          </a:p>
          <a:p>
            <a:endParaRPr/>
          </a:p>
          <a:p>
            <a:r>
              <a:t>75% reported receptive rimming. The median number of rimming partners in the last 3 months was 1 (IQR 0-3) </a:t>
            </a:r>
          </a:p>
          <a:p>
            <a:endParaRPr/>
          </a:p>
          <a:p>
            <a:r>
              <a:t>84.3% reported receptive fingering or penis dipping; with the median fingering / dipping was 2 (IQR 1-4)</a:t>
            </a:r>
          </a:p>
          <a:p>
            <a:endParaRPr/>
          </a:p>
          <a:p>
            <a:r>
              <a:t>Receptive rimming and fingering / dipping did not differ by age groups.</a:t>
            </a:r>
          </a:p>
          <a:p>
            <a:endParaRPr/>
          </a:p>
          <a:p>
            <a:r>
              <a:t>68.5% reported use of partner’s saliva as a lubricant for anal sex in the last 3 months.</a:t>
            </a:r>
          </a:p>
          <a:p>
            <a:endParaRPr/>
          </a:p>
          <a:p>
            <a:r>
              <a:t>Men who reported not always using condoms for RAS were more likely to have receptive rimming, receptive fingering / dipping and using partner’s saliva as lubricant compared with those who used condoms always or reported no RAS in the last three months.</a:t>
            </a:r>
          </a:p>
          <a:p>
            <a:endParaRPr/>
          </a:p>
          <a:p>
            <a:r>
              <a:t>2.5% of the sample were HIV positive and there was no significant association observed between anal sexual practices and HIV serostatus.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83" name="Shape 83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In the model, we adjusted for age, condom use for RAS, pharyngeal gono positivity and HIV serostatus</a:t>
            </a:r>
          </a:p>
          <a:p>
            <a:endParaRPr/>
          </a:p>
          <a:p>
            <a:r>
              <a:t>There were six factors associated with anal gonorrhoea.</a:t>
            </a:r>
          </a:p>
          <a:p>
            <a:endParaRPr/>
          </a:p>
          <a:p>
            <a:r>
              <a:t>These were younger age &lt;24 years old, saliva use as lubricant, condoms for receptive anal sex; pharyngeal gonorrhoea and HIV</a:t>
            </a:r>
          </a:p>
          <a:p>
            <a:endParaRPr/>
          </a:p>
          <a:p>
            <a:r>
              <a:t>Use of saliva as a lubricant was 2 times more likely to be associated with acquiring anal gonorhhoea.</a:t>
            </a:r>
          </a:p>
          <a:p>
            <a:r>
              <a:t>Condom use had a similar magnitude of risk.</a:t>
            </a:r>
          </a:p>
          <a:p>
            <a:endParaRPr/>
          </a:p>
          <a:p>
            <a:endParaRPr/>
          </a:p>
          <a:p>
            <a:r>
              <a:t>Rectal gonorrhoea was 2 times more likely significantly associated with using partner’s saliva as a lubricant  (OR 2.5) but not as</a:t>
            </a:r>
          </a:p>
          <a:p>
            <a:r>
              <a:t>associated with receptive rimming or fingering / dipping.</a:t>
            </a:r>
          </a:p>
          <a:p>
            <a:endParaRPr/>
          </a:p>
          <a:p>
            <a:r>
              <a:t>Rectal gonorrhoea was strongly associated with throat gonorrhoea in both univariate and multivariate analysis.</a:t>
            </a:r>
          </a:p>
          <a:p>
            <a:endParaRPr/>
          </a:p>
          <a:p>
            <a:r>
              <a:t>The adjusted odds of having rectal gono were 2 times higher among those who used partners saliva as lubricant compared those who did not after adjusting for.</a:t>
            </a:r>
          </a:p>
          <a:p>
            <a:endParaRPr/>
          </a:p>
          <a:p>
            <a:r>
              <a:t>The crude population-attributable fraction of anal gono with partner saliva as lubricant was 49%, and the adjusted PAF of anal gono was 41.4% after adjusting for age, condom use for RAS, pharyngeal gono positivity and HIV statu</a:t>
            </a:r>
          </a:p>
          <a:p>
            <a:endParaRPr/>
          </a:p>
          <a:p>
            <a:endParaRPr/>
          </a:p>
          <a:p>
            <a:r>
              <a:t>Mo</a:t>
            </a:r>
          </a:p>
          <a:p>
            <a:endParaRPr/>
          </a:p>
          <a:p>
            <a:r>
              <a:t>Age group</a:t>
            </a:r>
          </a:p>
          <a:p>
            <a:r>
              <a:t>Use of saliva</a:t>
            </a:r>
          </a:p>
          <a:p>
            <a:r>
              <a:t>Th Gono</a:t>
            </a:r>
          </a:p>
          <a:p>
            <a:r>
              <a:t>HIV</a:t>
            </a:r>
          </a:p>
          <a:p>
            <a:endParaRPr/>
          </a:p>
          <a:p>
            <a:r>
              <a:t>del 6 factors a/w rectalh\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Shape 90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1" name="Shape 91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It is possible that saliva operates as a potential medium for transmission of anal gono.</a:t>
            </a:r>
          </a:p>
          <a:p>
            <a:endParaRPr/>
          </a:p>
          <a:p>
            <a:r>
              <a:t>This is the first study to show that using partner’s saliva for anal sexual practices may be a substantial risk factor for rectal gonorrhoea, potentially contributing to about 40% of rectal infections.</a:t>
            </a:r>
          </a:p>
          <a:p>
            <a:endParaRPr/>
          </a:p>
          <a:p>
            <a:r>
              <a:t>The public health implications for a preventive message for STI is likely complex and challenging given that saliva is commonly used as part of sexual activity among MSM.</a:t>
            </a:r>
          </a:p>
          <a:p>
            <a:endParaRPr/>
          </a:p>
          <a:p>
            <a:r>
              <a:t>There are several limitations to our study:</a:t>
            </a:r>
          </a:p>
          <a:p>
            <a:endParaRPr/>
          </a:p>
          <a:p>
            <a:r>
              <a:t>Saliva use as a lubricant involves a larger volume of saliva in comparison with the exposure of saliva through rimming.</a:t>
            </a:r>
          </a:p>
          <a:p>
            <a:r>
              <a:t>The strong association with pharyngeal gono in the adjusted analysis, highlights how important the pharynx is, in the overall transmission.</a:t>
            </a:r>
          </a:p>
          <a:p>
            <a:endParaRPr/>
          </a:p>
          <a:p>
            <a:r>
              <a:t>We hope that this first study on the association between saliva use as lubricant and anal gonorrhoea, will be explored in future studies, in different settings.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Shape 99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0" name="Shape 100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Acknowlegements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3178114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t>Click to edit Master title style</a:t>
            </a:r>
          </a:p>
        </p:txBody>
      </p:sp>
      <p:sp>
        <p:nvSpPr>
          <p:cNvPr id="20" name="Shape 20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>
              <a:buClrTx/>
              <a:defRPr>
                <a:solidFill>
                  <a:srgbClr val="000000"/>
                </a:solidFill>
              </a:defRPr>
            </a:lvl1pPr>
            <a:lvl2pPr>
              <a:buClrTx/>
              <a:defRPr>
                <a:solidFill>
                  <a:srgbClr val="000000"/>
                </a:solidFill>
              </a:defRPr>
            </a:lvl2pPr>
            <a:lvl3pPr>
              <a:buClrTx/>
              <a:defRPr>
                <a:solidFill>
                  <a:srgbClr val="000000"/>
                </a:solidFill>
              </a:defRPr>
            </a:lvl3pPr>
            <a:lvl4pPr>
              <a:buClrTx/>
              <a:defRPr>
                <a:solidFill>
                  <a:srgbClr val="000000"/>
                </a:solidFill>
              </a:defRPr>
            </a:lvl4pPr>
            <a:lvl5pPr>
              <a:buClrTx/>
              <a:defRPr>
                <a:solidFill>
                  <a:srgbClr val="000000"/>
                </a:solidFill>
              </a:defRPr>
            </a:lvl5pPr>
          </a:lstStyle>
          <a:p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8376463" y="4683919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076808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owerPointTemplate_MSHCMelbUni.jpg" descr="powerPointTemplate_MSHCMelbUni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38100" y="1"/>
            <a:ext cx="9334500" cy="5260181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Shape 29"/>
          <p:cNvSpPr>
            <a:spLocks noGrp="1"/>
          </p:cNvSpPr>
          <p:nvPr>
            <p:ph type="sldNum" sz="quarter" idx="2"/>
          </p:nvPr>
        </p:nvSpPr>
        <p:spPr>
          <a:xfrm>
            <a:off x="6553200" y="4767263"/>
            <a:ext cx="310339" cy="307777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3281672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>
            <a:spLocks noGrp="1"/>
          </p:cNvSpPr>
          <p:nvPr>
            <p:ph type="title"/>
          </p:nvPr>
        </p:nvSpPr>
        <p:spPr>
          <a:xfrm>
            <a:off x="179387" y="86916"/>
            <a:ext cx="8856663" cy="919163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/>
          <a:p>
            <a:r>
              <a:t>Click to edit Master title style</a:t>
            </a:r>
          </a:p>
        </p:txBody>
      </p:sp>
      <p:sp>
        <p:nvSpPr>
          <p:cNvPr id="37" name="Shape 37"/>
          <p:cNvSpPr>
            <a:spLocks noGrp="1"/>
          </p:cNvSpPr>
          <p:nvPr>
            <p:ph type="body" idx="1"/>
          </p:nvPr>
        </p:nvSpPr>
        <p:spPr>
          <a:xfrm>
            <a:off x="179387" y="1059657"/>
            <a:ext cx="8856663" cy="32408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/>
          <a:p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38" name="Shape 3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2979124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553998"/>
          </a:xfrm>
          <a:prstGeom prst="rect">
            <a:avLst/>
          </a:prstGeom>
        </p:spPr>
        <p:txBody>
          <a:bodyPr/>
          <a:lstStyle>
            <a:lvl1pPr>
              <a:defRPr sz="3600" b="1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8"/>
            <a:ext cx="7519009" cy="307777"/>
          </a:xfrm>
        </p:spPr>
        <p:txBody>
          <a:bodyPr/>
          <a:lstStyle>
            <a:lvl1pPr>
              <a:defRPr sz="2000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116162" y="179669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55322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23528" y="627534"/>
            <a:ext cx="7274393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 sz="36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667674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owerPointTemplate_MSHC_MelbUni_Alfred_02_Blue.jpg" descr="powerPointTemplate_MSHC_MelbUni_Alfred_02_Blue.jpg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-74612" y="0"/>
            <a:ext cx="9307513" cy="524470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57200" y="69056"/>
            <a:ext cx="8229600" cy="1131095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943350"/>
          </a:xfrm>
          <a:prstGeom prst="rect">
            <a:avLst/>
          </a:prstGeom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79388" y="4699397"/>
            <a:ext cx="310339" cy="307777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 defTabSz="457200">
              <a:defRPr sz="1400">
                <a:solidFill>
                  <a:srgbClr val="808080"/>
                </a:solidFill>
              </a:defRPr>
            </a:lvl1pPr>
          </a:lstStyle>
          <a:p>
            <a:pPr hangingPunct="0"/>
            <a:fld id="{86CB4B4D-7CA3-9044-876B-883B54F8677D}" type="slidenum">
              <a:rPr kern="0">
                <a:latin typeface="Arial"/>
                <a:cs typeface="Arial"/>
                <a:sym typeface="Arial"/>
              </a:rPr>
              <a:pPr hangingPunct="0"/>
              <a:t>‹#›</a:t>
            </a:fld>
            <a:endParaRPr kern="0"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483714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</p:sldLayoutIdLst>
  <p:transition spd="med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5pPr>
      <a:lvl6pPr marL="0" marR="0" indent="457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6pPr>
      <a:lvl7pPr marL="0" marR="0" indent="914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7pPr>
      <a:lvl8pPr marL="0" marR="0" indent="1371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8pPr>
      <a:lvl9pPr marL="0" marR="0" indent="18288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3366"/>
          </a:solidFill>
          <a:uFillTx/>
          <a:latin typeface="+mj-lt"/>
          <a:ea typeface="+mj-ea"/>
          <a:cs typeface="+mj-cs"/>
          <a:sym typeface="Arial"/>
        </a:defRPr>
      </a:lvl9pPr>
    </p:titleStyle>
    <p:bodyStyle>
      <a:lvl1pPr marL="342900" marR="0" indent="-3429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>
          <a:srgbClr val="339966"/>
        </a:buClr>
        <a:buSzPct val="100000"/>
        <a:buFontTx/>
        <a:buChar char="»"/>
        <a:tabLst/>
        <a:defRPr sz="3200" b="0" i="0" u="none" strike="noStrike" cap="none" spc="0" baseline="0">
          <a:ln>
            <a:noFill/>
          </a:ln>
          <a:solidFill>
            <a:srgbClr val="00478E"/>
          </a:solidFill>
          <a:uFillTx/>
          <a:latin typeface="+mj-lt"/>
          <a:ea typeface="+mj-ea"/>
          <a:cs typeface="+mj-cs"/>
          <a:sym typeface="Arial"/>
        </a:defRPr>
      </a:lvl1pPr>
      <a:lvl2pPr marL="783771" marR="0" indent="-326571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>
          <a:srgbClr val="339966"/>
        </a:buClr>
        <a:buSzPct val="100000"/>
        <a:buFontTx/>
        <a:buChar char="–"/>
        <a:tabLst/>
        <a:defRPr sz="3200" b="0" i="0" u="none" strike="noStrike" cap="none" spc="0" baseline="0">
          <a:ln>
            <a:noFill/>
          </a:ln>
          <a:solidFill>
            <a:srgbClr val="00478E"/>
          </a:solidFill>
          <a:uFillTx/>
          <a:latin typeface="+mj-lt"/>
          <a:ea typeface="+mj-ea"/>
          <a:cs typeface="+mj-cs"/>
          <a:sym typeface="Arial"/>
        </a:defRPr>
      </a:lvl2pPr>
      <a:lvl3pPr marL="1219200" marR="0" indent="-3048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>
          <a:srgbClr val="339966"/>
        </a:buClr>
        <a:buSzPct val="100000"/>
        <a:buFontTx/>
        <a:buChar char="•"/>
        <a:tabLst/>
        <a:defRPr sz="3200" b="0" i="0" u="none" strike="noStrike" cap="none" spc="0" baseline="0">
          <a:ln>
            <a:noFill/>
          </a:ln>
          <a:solidFill>
            <a:srgbClr val="00478E"/>
          </a:solidFill>
          <a:uFillTx/>
          <a:latin typeface="+mj-lt"/>
          <a:ea typeface="+mj-ea"/>
          <a:cs typeface="+mj-cs"/>
          <a:sym typeface="Arial"/>
        </a:defRPr>
      </a:lvl3pPr>
      <a:lvl4pPr marL="17373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>
          <a:srgbClr val="339966"/>
        </a:buClr>
        <a:buSzPct val="100000"/>
        <a:buFontTx/>
        <a:buChar char="–"/>
        <a:tabLst/>
        <a:defRPr sz="3200" b="0" i="0" u="none" strike="noStrike" cap="none" spc="0" baseline="0">
          <a:ln>
            <a:noFill/>
          </a:ln>
          <a:solidFill>
            <a:srgbClr val="00478E"/>
          </a:solidFill>
          <a:uFillTx/>
          <a:latin typeface="+mj-lt"/>
          <a:ea typeface="+mj-ea"/>
          <a:cs typeface="+mj-cs"/>
          <a:sym typeface="Arial"/>
        </a:defRPr>
      </a:lvl4pPr>
      <a:lvl5pPr marL="22352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>
          <a:srgbClr val="339966"/>
        </a:buClr>
        <a:buSzPct val="100000"/>
        <a:buFontTx/>
        <a:buChar char="»"/>
        <a:tabLst/>
        <a:defRPr sz="3200" b="0" i="0" u="none" strike="noStrike" cap="none" spc="0" baseline="0">
          <a:ln>
            <a:noFill/>
          </a:ln>
          <a:solidFill>
            <a:srgbClr val="00478E"/>
          </a:solidFill>
          <a:uFillTx/>
          <a:latin typeface="+mj-lt"/>
          <a:ea typeface="+mj-ea"/>
          <a:cs typeface="+mj-cs"/>
          <a:sym typeface="Arial"/>
        </a:defRPr>
      </a:lvl5pPr>
      <a:lvl6pPr marL="26924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>
          <a:srgbClr val="339966"/>
        </a:buClr>
        <a:buSzPct val="100000"/>
        <a:buFontTx/>
        <a:buChar char="•"/>
        <a:tabLst/>
        <a:defRPr sz="3200" b="0" i="0" u="none" strike="noStrike" cap="none" spc="0" baseline="0">
          <a:ln>
            <a:noFill/>
          </a:ln>
          <a:solidFill>
            <a:srgbClr val="00478E"/>
          </a:solidFill>
          <a:uFillTx/>
          <a:latin typeface="+mj-lt"/>
          <a:ea typeface="+mj-ea"/>
          <a:cs typeface="+mj-cs"/>
          <a:sym typeface="Arial"/>
        </a:defRPr>
      </a:lvl6pPr>
      <a:lvl7pPr marL="31496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>
          <a:srgbClr val="339966"/>
        </a:buClr>
        <a:buSzPct val="100000"/>
        <a:buFontTx/>
        <a:buChar char="•"/>
        <a:tabLst/>
        <a:defRPr sz="3200" b="0" i="0" u="none" strike="noStrike" cap="none" spc="0" baseline="0">
          <a:ln>
            <a:noFill/>
          </a:ln>
          <a:solidFill>
            <a:srgbClr val="00478E"/>
          </a:solidFill>
          <a:uFillTx/>
          <a:latin typeface="+mj-lt"/>
          <a:ea typeface="+mj-ea"/>
          <a:cs typeface="+mj-cs"/>
          <a:sym typeface="Arial"/>
        </a:defRPr>
      </a:lvl7pPr>
      <a:lvl8pPr marL="36068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>
          <a:srgbClr val="339966"/>
        </a:buClr>
        <a:buSzPct val="100000"/>
        <a:buFontTx/>
        <a:buChar char="•"/>
        <a:tabLst/>
        <a:defRPr sz="3200" b="0" i="0" u="none" strike="noStrike" cap="none" spc="0" baseline="0">
          <a:ln>
            <a:noFill/>
          </a:ln>
          <a:solidFill>
            <a:srgbClr val="00478E"/>
          </a:solidFill>
          <a:uFillTx/>
          <a:latin typeface="+mj-lt"/>
          <a:ea typeface="+mj-ea"/>
          <a:cs typeface="+mj-cs"/>
          <a:sym typeface="Arial"/>
        </a:defRPr>
      </a:lvl8pPr>
      <a:lvl9pPr marL="40640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>
          <a:srgbClr val="339966"/>
        </a:buClr>
        <a:buSzPct val="100000"/>
        <a:buFontTx/>
        <a:buChar char="•"/>
        <a:tabLst/>
        <a:defRPr sz="3200" b="0" i="0" u="none" strike="noStrike" cap="none" spc="0" baseline="0">
          <a:ln>
            <a:noFill/>
          </a:ln>
          <a:solidFill>
            <a:srgbClr val="00478E"/>
          </a:solidFill>
          <a:uFillTx/>
          <a:latin typeface="+mj-lt"/>
          <a:ea typeface="+mj-ea"/>
          <a:cs typeface="+mj-cs"/>
          <a:sym typeface="Arial"/>
        </a:defRPr>
      </a:lvl9pPr>
    </p:bodyStyle>
    <p:otherStyle>
      <a:lvl1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533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 idx="4294967295"/>
          </p:nvPr>
        </p:nvSpPr>
        <p:spPr>
          <a:xfrm>
            <a:off x="685800" y="1597820"/>
            <a:ext cx="7772400" cy="110251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0000"/>
          </a:bodyPr>
          <a:lstStyle>
            <a:lvl1pPr algn="r" defTabSz="795527">
              <a:defRPr sz="2436">
                <a:solidFill>
                  <a:srgbClr val="F2F2F2"/>
                </a:solidFill>
              </a:defRPr>
            </a:lvl1pPr>
          </a:lstStyle>
          <a:p>
            <a:r>
              <a:rPr dirty="0">
                <a:solidFill>
                  <a:schemeClr val="tx1"/>
                </a:solidFill>
              </a:rPr>
              <a:t>Saliva use as a lubricant for anal sex is a risk factor for rectal </a:t>
            </a:r>
            <a:r>
              <a:rPr dirty="0" err="1">
                <a:solidFill>
                  <a:schemeClr val="tx1"/>
                </a:solidFill>
              </a:rPr>
              <a:t>gonorrhoea</a:t>
            </a:r>
            <a:r>
              <a:rPr dirty="0">
                <a:solidFill>
                  <a:schemeClr val="tx1"/>
                </a:solidFill>
              </a:rPr>
              <a:t> among men-who-have-sex-with-men, a new public health message: a cross sectional survey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half" idx="4294967295"/>
          </p:nvPr>
        </p:nvSpPr>
        <p:spPr>
          <a:xfrm>
            <a:off x="250825" y="3219451"/>
            <a:ext cx="6400800" cy="1728788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400"/>
              </a:spcBef>
              <a:buSzTx/>
              <a:buNone/>
              <a:defRPr sz="2000">
                <a:solidFill>
                  <a:srgbClr val="FFFFFF"/>
                </a:solidFill>
              </a:defRPr>
            </a:pPr>
            <a:r>
              <a:rPr>
                <a:solidFill>
                  <a:schemeClr val="tx1"/>
                </a:solidFill>
              </a:rPr>
              <a:t>Eric Chow</a:t>
            </a:r>
            <a:r>
              <a:rPr baseline="30000">
                <a:solidFill>
                  <a:schemeClr val="tx1"/>
                </a:solidFill>
              </a:rPr>
              <a:t>(1)(2) </a:t>
            </a:r>
            <a:r>
              <a:rPr>
                <a:solidFill>
                  <a:schemeClr val="tx1"/>
                </a:solidFill>
              </a:rPr>
              <a:t>Vincent Cornelisse</a:t>
            </a:r>
            <a:r>
              <a:rPr baseline="30000">
                <a:solidFill>
                  <a:schemeClr val="tx1"/>
                </a:solidFill>
              </a:rPr>
              <a:t>(1)(2) </a:t>
            </a:r>
            <a:r>
              <a:rPr>
                <a:solidFill>
                  <a:schemeClr val="tx1"/>
                </a:solidFill>
              </a:rPr>
              <a:t>Tim Read</a:t>
            </a:r>
            <a:r>
              <a:rPr baseline="30000">
                <a:solidFill>
                  <a:schemeClr val="tx1"/>
                </a:solidFill>
              </a:rPr>
              <a:t>(1)(2), </a:t>
            </a:r>
            <a:r>
              <a:rPr b="1" u="sng">
                <a:solidFill>
                  <a:schemeClr val="tx1"/>
                </a:solidFill>
              </a:rPr>
              <a:t>David Lee</a:t>
            </a:r>
            <a:r>
              <a:rPr b="1" u="sng" baseline="30000">
                <a:solidFill>
                  <a:schemeClr val="tx1"/>
                </a:solidFill>
              </a:rPr>
              <a:t>(1)(2)(3)</a:t>
            </a:r>
            <a:r>
              <a:rPr baseline="30000">
                <a:solidFill>
                  <a:schemeClr val="tx1"/>
                </a:solidFill>
              </a:rPr>
              <a:t> </a:t>
            </a:r>
            <a:r>
              <a:rPr>
                <a:solidFill>
                  <a:schemeClr val="tx1"/>
                </a:solidFill>
              </a:rPr>
              <a:t>Sandra Walker </a:t>
            </a:r>
            <a:r>
              <a:rPr baseline="30000">
                <a:solidFill>
                  <a:schemeClr val="tx1"/>
                </a:solidFill>
              </a:rPr>
              <a:t>(1)(2) </a:t>
            </a:r>
            <a:r>
              <a:rPr>
                <a:solidFill>
                  <a:schemeClr val="tx1"/>
                </a:solidFill>
              </a:rPr>
              <a:t>Jane Hocking</a:t>
            </a:r>
            <a:r>
              <a:rPr baseline="30000">
                <a:solidFill>
                  <a:schemeClr val="tx1"/>
                </a:solidFill>
              </a:rPr>
              <a:t>(3) </a:t>
            </a:r>
            <a:r>
              <a:rPr>
                <a:solidFill>
                  <a:schemeClr val="tx1"/>
                </a:solidFill>
              </a:rPr>
              <a:t>Marcus Chen</a:t>
            </a:r>
            <a:r>
              <a:rPr baseline="30000">
                <a:solidFill>
                  <a:schemeClr val="tx1"/>
                </a:solidFill>
              </a:rPr>
              <a:t>(1)(2) </a:t>
            </a:r>
            <a:r>
              <a:rPr>
                <a:solidFill>
                  <a:schemeClr val="tx1"/>
                </a:solidFill>
              </a:rPr>
              <a:t>Catriona Bradshaw</a:t>
            </a:r>
            <a:r>
              <a:rPr baseline="30000">
                <a:solidFill>
                  <a:schemeClr val="tx1"/>
                </a:solidFill>
              </a:rPr>
              <a:t>(1)(2) </a:t>
            </a:r>
            <a:r>
              <a:rPr>
                <a:solidFill>
                  <a:schemeClr val="tx1"/>
                </a:solidFill>
              </a:rPr>
              <a:t>and Kit Fairley</a:t>
            </a:r>
            <a:r>
              <a:rPr baseline="30000">
                <a:solidFill>
                  <a:schemeClr val="tx1"/>
                </a:solidFill>
              </a:rPr>
              <a:t>(1)(2)</a:t>
            </a:r>
          </a:p>
          <a:p>
            <a:pPr marL="0" indent="0">
              <a:buSzTx/>
              <a:buNone/>
              <a:defRPr sz="2000">
                <a:solidFill>
                  <a:srgbClr val="FFFFFF"/>
                </a:solidFill>
              </a:defRPr>
            </a:pPr>
            <a:endParaRPr baseline="30000">
              <a:solidFill>
                <a:schemeClr val="tx1"/>
              </a:solidFill>
            </a:endParaRPr>
          </a:p>
          <a:p>
            <a:pPr marL="0" indent="0">
              <a:spcBef>
                <a:spcPts val="200"/>
              </a:spcBef>
              <a:buSzTx/>
              <a:buNone/>
              <a:defRPr sz="1200" i="1">
                <a:solidFill>
                  <a:srgbClr val="FFFFFF"/>
                </a:solidFill>
              </a:defRPr>
            </a:pPr>
            <a:r>
              <a:rPr>
                <a:solidFill>
                  <a:schemeClr val="tx1"/>
                </a:solidFill>
              </a:rPr>
              <a:t>Melbourne Sexual Health Centre</a:t>
            </a:r>
            <a:r>
              <a:rPr baseline="30000">
                <a:solidFill>
                  <a:schemeClr val="tx1"/>
                </a:solidFill>
              </a:rPr>
              <a:t>(1)</a:t>
            </a:r>
          </a:p>
          <a:p>
            <a:pPr marL="0" indent="0">
              <a:spcBef>
                <a:spcPts val="200"/>
              </a:spcBef>
              <a:buSzTx/>
              <a:buNone/>
              <a:defRPr sz="1200" i="1">
                <a:solidFill>
                  <a:srgbClr val="FFFFFF"/>
                </a:solidFill>
              </a:defRPr>
            </a:pPr>
            <a:r>
              <a:rPr>
                <a:solidFill>
                  <a:schemeClr val="tx1"/>
                </a:solidFill>
              </a:rPr>
              <a:t>Monash University, Melbourne</a:t>
            </a:r>
            <a:r>
              <a:rPr baseline="30000">
                <a:solidFill>
                  <a:schemeClr val="tx1"/>
                </a:solidFill>
              </a:rPr>
              <a:t>(2)</a:t>
            </a:r>
          </a:p>
          <a:p>
            <a:pPr marL="0" indent="0">
              <a:spcBef>
                <a:spcPts val="200"/>
              </a:spcBef>
              <a:buSzTx/>
              <a:buNone/>
              <a:defRPr sz="1200" i="1">
                <a:solidFill>
                  <a:srgbClr val="FFFFFF"/>
                </a:solidFill>
              </a:defRPr>
            </a:pPr>
            <a:r>
              <a:rPr>
                <a:solidFill>
                  <a:schemeClr val="tx1"/>
                </a:solidFill>
              </a:rPr>
              <a:t>The University of Melbourne</a:t>
            </a:r>
            <a:r>
              <a:rPr baseline="30000">
                <a:solidFill>
                  <a:schemeClr val="tx1"/>
                </a:solidFill>
              </a:rPr>
              <a:t>(3)</a:t>
            </a:r>
          </a:p>
        </p:txBody>
      </p:sp>
    </p:spTree>
    <p:extLst>
      <p:ext uri="{BB962C8B-B14F-4D97-AF65-F5344CB8AC3E}">
        <p14:creationId xmlns:p14="http://schemas.microsoft.com/office/powerpoint/2010/main" val="3067422379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title" idx="4294967295"/>
          </p:nvPr>
        </p:nvSpPr>
        <p:spPr>
          <a:xfrm>
            <a:off x="3200400" y="457201"/>
            <a:ext cx="5835650" cy="548879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r">
              <a:defRPr sz="32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94" name="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902200" y="3350420"/>
            <a:ext cx="4241800" cy="1933575"/>
          </a:xfrm>
          <a:prstGeom prst="rect">
            <a:avLst/>
          </a:prstGeom>
          <a:ln w="12700">
            <a:miter lim="400000"/>
          </a:ln>
        </p:spPr>
      </p:pic>
      <p:pic>
        <p:nvPicPr>
          <p:cNvPr id="95" name="image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-44450" y="7144"/>
            <a:ext cx="4941888" cy="2430066"/>
          </a:xfrm>
          <a:prstGeom prst="rect">
            <a:avLst/>
          </a:prstGeom>
          <a:ln w="12700">
            <a:miter lim="400000"/>
          </a:ln>
        </p:spPr>
      </p:pic>
      <p:pic>
        <p:nvPicPr>
          <p:cNvPr id="96" name="image.png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4897440" y="1207295"/>
            <a:ext cx="4241801" cy="2143125"/>
          </a:xfrm>
          <a:prstGeom prst="rect">
            <a:avLst/>
          </a:prstGeom>
          <a:ln w="12700">
            <a:miter lim="400000"/>
          </a:ln>
        </p:spPr>
      </p:pic>
      <p:pic>
        <p:nvPicPr>
          <p:cNvPr id="97" name="image.png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911350" y="2591992"/>
            <a:ext cx="2986088" cy="1814513"/>
          </a:xfrm>
          <a:prstGeom prst="rect">
            <a:avLst/>
          </a:prstGeom>
          <a:ln w="12700">
            <a:miter lim="400000"/>
          </a:ln>
        </p:spPr>
      </p:pic>
      <p:pic>
        <p:nvPicPr>
          <p:cNvPr id="98" name="image.png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-23813" y="3813572"/>
            <a:ext cx="1905001" cy="145018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6344430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title" idx="4294967295"/>
          </p:nvPr>
        </p:nvSpPr>
        <p:spPr>
          <a:xfrm>
            <a:off x="250825" y="411957"/>
            <a:ext cx="3600450" cy="548879"/>
          </a:xfrm>
          <a:prstGeom prst="rect">
            <a:avLst/>
          </a:prstGeom>
          <a:solidFill>
            <a:srgbClr val="0070C0"/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0000"/>
          </a:bodyPr>
          <a:lstStyle>
            <a:lvl1pPr>
              <a:defRPr sz="3200" b="1">
                <a:solidFill>
                  <a:srgbClr val="FFFFFF"/>
                </a:solidFill>
              </a:defRPr>
            </a:lvl1pPr>
          </a:lstStyle>
          <a:p>
            <a:r>
              <a:t>BACKGROUND</a:t>
            </a:r>
          </a:p>
        </p:txBody>
      </p:sp>
      <p:sp>
        <p:nvSpPr>
          <p:cNvPr id="53" name="Shape 53"/>
          <p:cNvSpPr>
            <a:spLocks noGrp="1"/>
          </p:cNvSpPr>
          <p:nvPr>
            <p:ph type="body" idx="4294967295"/>
          </p:nvPr>
        </p:nvSpPr>
        <p:spPr>
          <a:xfrm>
            <a:off x="179387" y="1059657"/>
            <a:ext cx="8785226" cy="4083844"/>
          </a:xfrm>
          <a:prstGeom prst="rect">
            <a:avLst/>
          </a:prstGeom>
          <a:solidFill>
            <a:srgbClr val="9ED3D7">
              <a:alpha val="70195"/>
            </a:srgbClr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/>
          <a:p>
            <a:pPr>
              <a:spcBef>
                <a:spcPts val="500"/>
              </a:spcBef>
              <a:buClr>
                <a:srgbClr val="FFFFFF"/>
              </a:buClr>
              <a:buChar char="•"/>
              <a:defRPr sz="2400">
                <a:solidFill>
                  <a:srgbClr val="003366"/>
                </a:solidFill>
              </a:defRPr>
            </a:pPr>
            <a:r>
              <a:t>Anal sexual practices apart from penile-anal sex are common in men-who-have-sex-with-men (MSM)</a:t>
            </a:r>
          </a:p>
          <a:p>
            <a:pPr>
              <a:buClr>
                <a:srgbClr val="FFFFFF"/>
              </a:buClr>
              <a:buChar char="•"/>
              <a:defRPr sz="2400">
                <a:solidFill>
                  <a:srgbClr val="003366"/>
                </a:solidFill>
              </a:defRPr>
            </a:pPr>
            <a:endParaRPr/>
          </a:p>
          <a:p>
            <a:pPr>
              <a:spcBef>
                <a:spcPts val="500"/>
              </a:spcBef>
              <a:buClr>
                <a:srgbClr val="FFFFFF"/>
              </a:buClr>
              <a:buChar char="•"/>
              <a:defRPr sz="2400">
                <a:solidFill>
                  <a:srgbClr val="003366"/>
                </a:solidFill>
              </a:defRPr>
            </a:pPr>
            <a:r>
              <a:t>Is there a plausible explanation(s) for findings that are common across many studies but hard to explain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000">
                <a:solidFill>
                  <a:srgbClr val="003366"/>
                </a:solidFill>
              </a:defRPr>
            </a:pPr>
            <a:r>
              <a:t>Oral sex is associated with anal gonorrhoea (GC)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000">
                <a:solidFill>
                  <a:srgbClr val="003366"/>
                </a:solidFill>
              </a:defRPr>
            </a:pPr>
            <a:r>
              <a:t>Anal GC occurs relatively frequently in men who use 100% condoms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000">
                <a:solidFill>
                  <a:srgbClr val="003366"/>
                </a:solidFill>
              </a:defRPr>
            </a:pPr>
            <a:r>
              <a:t>Anal GC is so common given that urethral GC is present for such a short duration at a population level</a:t>
            </a:r>
          </a:p>
        </p:txBody>
      </p:sp>
    </p:spTree>
    <p:extLst>
      <p:ext uri="{BB962C8B-B14F-4D97-AF65-F5344CB8AC3E}">
        <p14:creationId xmlns:p14="http://schemas.microsoft.com/office/powerpoint/2010/main" val="105048120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/>
          </p:cNvSpPr>
          <p:nvPr>
            <p:ph type="title" idx="4294967295"/>
          </p:nvPr>
        </p:nvSpPr>
        <p:spPr>
          <a:xfrm>
            <a:off x="179388" y="411957"/>
            <a:ext cx="4176713" cy="548879"/>
          </a:xfrm>
          <a:prstGeom prst="rect">
            <a:avLst/>
          </a:prstGeom>
          <a:solidFill>
            <a:srgbClr val="0070C0"/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0000"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t>Aim of Study</a:t>
            </a:r>
          </a:p>
        </p:txBody>
      </p:sp>
      <p:sp>
        <p:nvSpPr>
          <p:cNvPr id="58" name="Shape 58"/>
          <p:cNvSpPr>
            <a:spLocks noGrp="1"/>
          </p:cNvSpPr>
          <p:nvPr>
            <p:ph type="body" idx="4294967295"/>
          </p:nvPr>
        </p:nvSpPr>
        <p:spPr>
          <a:xfrm>
            <a:off x="-107950" y="960834"/>
            <a:ext cx="9144001" cy="4182666"/>
          </a:xfrm>
          <a:prstGeom prst="rect">
            <a:avLst/>
          </a:prstGeom>
          <a:solidFill>
            <a:schemeClr val="accent1"/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/>
          <a:p>
            <a:pPr>
              <a:spcBef>
                <a:spcPts val="600"/>
              </a:spcBef>
              <a:buClr>
                <a:srgbClr val="FFFFFF"/>
              </a:buClr>
              <a:buChar char="•"/>
              <a:defRPr sz="2800">
                <a:solidFill>
                  <a:srgbClr val="003366"/>
                </a:solidFill>
              </a:defRPr>
            </a:pPr>
            <a:r>
              <a:t>Evaluate if any other anal sex practices are risk factors for An GC in MSM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400">
                <a:solidFill>
                  <a:srgbClr val="003366"/>
                </a:solidFill>
              </a:defRPr>
            </a:pPr>
            <a:endParaRPr/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400">
                <a:solidFill>
                  <a:srgbClr val="003366"/>
                </a:solidFill>
              </a:defRPr>
            </a:pPr>
            <a:r>
              <a:t>Rimming (oral-anal contact / licking);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400">
                <a:solidFill>
                  <a:srgbClr val="003366"/>
                </a:solidFill>
              </a:defRPr>
            </a:pPr>
            <a:r>
              <a:t>Fingering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400">
                <a:solidFill>
                  <a:srgbClr val="003366"/>
                </a:solidFill>
              </a:defRPr>
            </a:pPr>
            <a:r>
              <a:t>Nudging / dipping (Penis ‘slightly inserted’ but not fully pass the anal verge)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400">
                <a:solidFill>
                  <a:srgbClr val="003366"/>
                </a:solidFill>
              </a:defRPr>
            </a:pPr>
            <a:r>
              <a:t>Saliva-use (as a lubricant)</a:t>
            </a:r>
          </a:p>
          <a:p>
            <a:pPr marL="285750" lvl="1" indent="171450">
              <a:spcBef>
                <a:spcPts val="0"/>
              </a:spcBef>
              <a:buSzTx/>
              <a:buNone/>
              <a:defRPr sz="1600">
                <a:solidFill>
                  <a:srgbClr val="003366"/>
                </a:solidFill>
              </a:defRPr>
            </a:pPr>
            <a:endParaRPr/>
          </a:p>
          <a:p>
            <a:pPr marL="285750" lvl="1" indent="171450">
              <a:spcBef>
                <a:spcPts val="0"/>
              </a:spcBef>
              <a:buSzTx/>
              <a:buNone/>
              <a:defRPr sz="1600">
                <a:solidFill>
                  <a:srgbClr val="003366"/>
                </a:solidFill>
              </a:defRPr>
            </a:pPr>
            <a:r>
              <a:t>STAG Study (Poster P089)</a:t>
            </a:r>
          </a:p>
          <a:p>
            <a:pPr marL="285750" lvl="1" indent="171450">
              <a:spcBef>
                <a:spcPts val="0"/>
              </a:spcBef>
              <a:buSzTx/>
              <a:buNone/>
              <a:defRPr sz="1600">
                <a:solidFill>
                  <a:srgbClr val="003366"/>
                </a:solidFill>
              </a:defRPr>
            </a:pPr>
            <a:r>
              <a:t>The gonococcal bacterial loads in saliva are strikingly high among MSM with untreated pharyngeal gonorrhoea.</a:t>
            </a:r>
          </a:p>
        </p:txBody>
      </p:sp>
    </p:spTree>
    <p:extLst>
      <p:ext uri="{BB962C8B-B14F-4D97-AF65-F5344CB8AC3E}">
        <p14:creationId xmlns:p14="http://schemas.microsoft.com/office/powerpoint/2010/main" val="3638424542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62"/>
          <p:cNvSpPr>
            <a:spLocks noGrp="1"/>
          </p:cNvSpPr>
          <p:nvPr>
            <p:ph type="title" idx="4294967295"/>
          </p:nvPr>
        </p:nvSpPr>
        <p:spPr>
          <a:xfrm>
            <a:off x="0" y="-26193"/>
            <a:ext cx="3744913" cy="548879"/>
          </a:xfrm>
          <a:prstGeom prst="rect">
            <a:avLst/>
          </a:prstGeom>
          <a:solidFill>
            <a:srgbClr val="0070C0"/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0000"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t>Method</a:t>
            </a:r>
          </a:p>
        </p:txBody>
      </p:sp>
      <p:sp>
        <p:nvSpPr>
          <p:cNvPr id="63" name="Shape 63"/>
          <p:cNvSpPr>
            <a:spLocks noGrp="1"/>
          </p:cNvSpPr>
          <p:nvPr>
            <p:ph type="body" idx="4294967295"/>
          </p:nvPr>
        </p:nvSpPr>
        <p:spPr>
          <a:xfrm>
            <a:off x="-1588" y="1050132"/>
            <a:ext cx="5400676" cy="4083844"/>
          </a:xfrm>
          <a:prstGeom prst="rect">
            <a:avLst/>
          </a:prstGeom>
          <a:solidFill>
            <a:srgbClr val="9ED3D7">
              <a:alpha val="70195"/>
            </a:srgbClr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2500" lnSpcReduction="20000"/>
          </a:bodyPr>
          <a:lstStyle/>
          <a:p>
            <a:pPr>
              <a:spcBef>
                <a:spcPts val="500"/>
              </a:spcBef>
              <a:buClr>
                <a:srgbClr val="FFFFFF"/>
              </a:buClr>
              <a:buChar char="•"/>
              <a:defRPr sz="2400">
                <a:solidFill>
                  <a:srgbClr val="003366"/>
                </a:solidFill>
              </a:defRPr>
            </a:pPr>
            <a:r>
              <a:t>Cross sectional study (2014/2015)</a:t>
            </a:r>
          </a:p>
          <a:p>
            <a:pPr>
              <a:buSzTx/>
              <a:buNone/>
              <a:defRPr sz="2400">
                <a:solidFill>
                  <a:srgbClr val="003366"/>
                </a:solidFill>
              </a:defRPr>
            </a:pPr>
            <a:endParaRPr/>
          </a:p>
          <a:p>
            <a:pPr>
              <a:spcBef>
                <a:spcPts val="500"/>
              </a:spcBef>
              <a:buClr>
                <a:srgbClr val="FFFFFF"/>
              </a:buClr>
              <a:buChar char="•"/>
              <a:defRPr sz="2400">
                <a:solidFill>
                  <a:srgbClr val="003366"/>
                </a:solidFill>
              </a:defRPr>
            </a:pPr>
            <a:r>
              <a:t>Population and Sampling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000">
                <a:solidFill>
                  <a:srgbClr val="003366"/>
                </a:solidFill>
              </a:defRPr>
            </a:pPr>
            <a:r>
              <a:t>MSM attending clinic requiring to do CASI*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000">
                <a:solidFill>
                  <a:srgbClr val="003366"/>
                </a:solidFill>
              </a:defRPr>
            </a:pPr>
            <a:r>
              <a:t>MSM who did not have an An GC test excluded</a:t>
            </a:r>
          </a:p>
          <a:p>
            <a:pPr marL="285750" lvl="1" indent="171450">
              <a:spcBef>
                <a:spcPts val="0"/>
              </a:spcBef>
              <a:buSzTx/>
              <a:buNone/>
              <a:defRPr sz="2000">
                <a:solidFill>
                  <a:srgbClr val="003366"/>
                </a:solidFill>
              </a:defRPr>
            </a:pPr>
            <a:endParaRPr/>
          </a:p>
          <a:p>
            <a:pPr>
              <a:spcBef>
                <a:spcPts val="500"/>
              </a:spcBef>
              <a:buClr>
                <a:srgbClr val="FFFFFF"/>
              </a:buClr>
              <a:buChar char="•"/>
              <a:defRPr sz="2400">
                <a:solidFill>
                  <a:srgbClr val="003366"/>
                </a:solidFill>
              </a:defRPr>
            </a:pPr>
            <a:r>
              <a:t>Measurement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000">
                <a:solidFill>
                  <a:srgbClr val="003366"/>
                </a:solidFill>
              </a:defRPr>
            </a:pPr>
            <a:r>
              <a:t>Additional 6 questions with CASI</a:t>
            </a:r>
          </a:p>
          <a:p>
            <a:pPr marL="742950" lvl="1" indent="-285750">
              <a:spcBef>
                <a:spcPts val="0"/>
              </a:spcBef>
              <a:buClr>
                <a:srgbClr val="FFFFFF"/>
              </a:buClr>
              <a:defRPr sz="2000">
                <a:solidFill>
                  <a:srgbClr val="003366"/>
                </a:solidFill>
              </a:defRPr>
            </a:pPr>
            <a:r>
              <a:t>Epidemiological risk characteristics</a:t>
            </a:r>
          </a:p>
          <a:p>
            <a:pPr marL="285750" lvl="1" indent="171450">
              <a:spcBef>
                <a:spcPts val="0"/>
              </a:spcBef>
              <a:buSzTx/>
              <a:buNone/>
              <a:defRPr sz="1000">
                <a:solidFill>
                  <a:srgbClr val="003366"/>
                </a:solidFill>
              </a:defRPr>
            </a:pPr>
            <a:endParaRPr/>
          </a:p>
          <a:p>
            <a:pPr marL="285750" lvl="1" indent="171450">
              <a:spcBef>
                <a:spcPts val="0"/>
              </a:spcBef>
              <a:buSzTx/>
              <a:buNone/>
              <a:defRPr sz="1000">
                <a:solidFill>
                  <a:srgbClr val="003366"/>
                </a:solidFill>
              </a:defRPr>
            </a:pPr>
            <a:endParaRPr/>
          </a:p>
          <a:p>
            <a:pPr marL="285750" lvl="1" indent="171450">
              <a:spcBef>
                <a:spcPts val="0"/>
              </a:spcBef>
              <a:buSzTx/>
              <a:buNone/>
              <a:defRPr sz="2000">
                <a:solidFill>
                  <a:srgbClr val="003366"/>
                </a:solidFill>
              </a:defRPr>
            </a:pPr>
            <a:endParaRPr/>
          </a:p>
          <a:p>
            <a:pPr marL="285750" lvl="1" indent="171450">
              <a:spcBef>
                <a:spcPts val="0"/>
              </a:spcBef>
              <a:buSzTx/>
              <a:buNone/>
              <a:defRPr sz="2000">
                <a:solidFill>
                  <a:srgbClr val="003366"/>
                </a:solidFill>
              </a:defRPr>
            </a:pPr>
            <a:r>
              <a:t>*</a:t>
            </a:r>
            <a:r>
              <a:rPr sz="1200"/>
              <a:t>Computer Assisted Sexual History Inventory</a:t>
            </a:r>
          </a:p>
        </p:txBody>
      </p:sp>
      <p:pic>
        <p:nvPicPr>
          <p:cNvPr id="64" name="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435600" y="1059657"/>
            <a:ext cx="3708400" cy="408384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71674945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Shape 68"/>
          <p:cNvSpPr>
            <a:spLocks noGrp="1"/>
          </p:cNvSpPr>
          <p:nvPr>
            <p:ph type="title" idx="4294967295"/>
          </p:nvPr>
        </p:nvSpPr>
        <p:spPr>
          <a:xfrm>
            <a:off x="179388" y="357188"/>
            <a:ext cx="3313113" cy="548879"/>
          </a:xfrm>
          <a:prstGeom prst="rect">
            <a:avLst/>
          </a:prstGeom>
          <a:solidFill>
            <a:srgbClr val="0070C0"/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0000"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t>Results</a:t>
            </a:r>
          </a:p>
        </p:txBody>
      </p:sp>
      <p:pic>
        <p:nvPicPr>
          <p:cNvPr id="69" name="image.png"/>
          <p:cNvPicPr>
            <a:picLocks noChangeAspect="1"/>
          </p:cNvPicPr>
          <p:nvPr/>
        </p:nvPicPr>
        <p:blipFill>
          <a:blip r:embed="rId3">
            <a:extLst/>
          </a:blip>
          <a:srcRect l="17759" t="16362" r="28666" b="15208"/>
          <a:stretch>
            <a:fillRect/>
          </a:stretch>
        </p:blipFill>
        <p:spPr>
          <a:xfrm>
            <a:off x="0" y="1168004"/>
            <a:ext cx="8675688" cy="38338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3972499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hape 73"/>
          <p:cNvSpPr>
            <a:spLocks noGrp="1"/>
          </p:cNvSpPr>
          <p:nvPr>
            <p:ph type="title" idx="4294967295"/>
          </p:nvPr>
        </p:nvSpPr>
        <p:spPr>
          <a:xfrm>
            <a:off x="-50801" y="4762"/>
            <a:ext cx="5041902" cy="1134666"/>
          </a:xfrm>
          <a:prstGeom prst="rect">
            <a:avLst/>
          </a:prstGeom>
          <a:solidFill>
            <a:srgbClr val="0070C0"/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>
              <a:defRPr sz="1600">
                <a:solidFill>
                  <a:srgbClr val="FFFFFF"/>
                </a:solidFill>
              </a:defRPr>
            </a:lvl1pPr>
          </a:lstStyle>
          <a:p>
            <a:r>
              <a:t>Proportion of MSM who engaged in (a) receptive rimming, (b) receptive fingering or penis dipping, and (c) saliva use as a lubricant for anal sex, by age group and condom use for receptive anal intercourse. </a:t>
            </a:r>
          </a:p>
        </p:txBody>
      </p:sp>
      <p:grpSp>
        <p:nvGrpSpPr>
          <p:cNvPr id="76" name="Group 76"/>
          <p:cNvGrpSpPr/>
          <p:nvPr/>
        </p:nvGrpSpPr>
        <p:grpSpPr>
          <a:xfrm>
            <a:off x="539750" y="1163241"/>
            <a:ext cx="8496300" cy="3942160"/>
            <a:chOff x="0" y="0"/>
            <a:chExt cx="8496300" cy="5256212"/>
          </a:xfrm>
        </p:grpSpPr>
        <p:sp>
          <p:nvSpPr>
            <p:cNvPr id="74" name="Shape 74"/>
            <p:cNvSpPr/>
            <p:nvPr/>
          </p:nvSpPr>
          <p:spPr>
            <a:xfrm>
              <a:off x="0" y="0"/>
              <a:ext cx="8496300" cy="5256213"/>
            </a:xfrm>
            <a:prstGeom prst="rect">
              <a:avLst/>
            </a:prstGeom>
            <a:solidFill>
              <a:srgbClr val="FFFFFF">
                <a:alpha val="70195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478E"/>
                </a:solidFill>
                <a:latin typeface="Arial"/>
                <a:cs typeface="Arial"/>
                <a:sym typeface="Arial"/>
              </a:endParaRPr>
            </a:p>
          </p:txBody>
        </p:sp>
        <p:pic>
          <p:nvPicPr>
            <p:cNvPr id="75" name="image.png"/>
            <p:cNvPicPr>
              <a:picLocks noChangeAspect="1"/>
            </p:cNvPicPr>
            <p:nvPr/>
          </p:nvPicPr>
          <p:blipFill>
            <a:blip r:embed="rId3">
              <a:alphaModFix amt="70195"/>
              <a:extLst/>
            </a:blip>
            <a:stretch>
              <a:fillRect/>
            </a:stretch>
          </p:blipFill>
          <p:spPr>
            <a:xfrm>
              <a:off x="0" y="0"/>
              <a:ext cx="8496300" cy="525621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329465898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Shape 80"/>
          <p:cNvSpPr>
            <a:spLocks noGrp="1"/>
          </p:cNvSpPr>
          <p:nvPr>
            <p:ph type="title" idx="4294967295"/>
          </p:nvPr>
        </p:nvSpPr>
        <p:spPr>
          <a:xfrm>
            <a:off x="250825" y="303610"/>
            <a:ext cx="4249738" cy="548879"/>
          </a:xfrm>
          <a:prstGeom prst="rect">
            <a:avLst/>
          </a:prstGeom>
          <a:solidFill>
            <a:srgbClr val="0070C0"/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0000"/>
          </a:bodyPr>
          <a:lstStyle>
            <a:lvl1pPr>
              <a:defRPr sz="2000" b="1">
                <a:solidFill>
                  <a:srgbClr val="FFFFFF"/>
                </a:solidFill>
              </a:defRPr>
            </a:lvl1pPr>
          </a:lstStyle>
          <a:p>
            <a:r>
              <a:t>AOR and Risk factors for An GC among MSM</a:t>
            </a:r>
          </a:p>
        </p:txBody>
      </p:sp>
      <p:pic>
        <p:nvPicPr>
          <p:cNvPr id="81" name="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4212" y="1221583"/>
            <a:ext cx="7488238" cy="345638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67782640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Shape 85"/>
          <p:cNvSpPr>
            <a:spLocks noGrp="1"/>
          </p:cNvSpPr>
          <p:nvPr>
            <p:ph type="title" idx="4294967295"/>
          </p:nvPr>
        </p:nvSpPr>
        <p:spPr>
          <a:xfrm>
            <a:off x="2" y="141684"/>
            <a:ext cx="4752975" cy="54887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0000"/>
          </a:bodyPr>
          <a:lstStyle/>
          <a:p>
            <a:pPr defTabSz="640079">
              <a:defRPr sz="2240" b="1">
                <a:solidFill>
                  <a:srgbClr val="FFFFFF"/>
                </a:solidFill>
              </a:defRPr>
            </a:pPr>
            <a:r>
              <a:t>Limitations</a:t>
            </a:r>
            <a:br/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body" idx="4294967295"/>
          </p:nvPr>
        </p:nvSpPr>
        <p:spPr>
          <a:xfrm>
            <a:off x="179387" y="1059658"/>
            <a:ext cx="8428107" cy="3726656"/>
          </a:xfrm>
          <a:prstGeom prst="rect">
            <a:avLst/>
          </a:prstGeom>
          <a:solidFill>
            <a:srgbClr val="FFFFFF">
              <a:alpha val="70195"/>
            </a:srgbClr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2500" lnSpcReduction="20000"/>
          </a:bodyPr>
          <a:lstStyle/>
          <a:p>
            <a:pPr marL="0" indent="0" defTabSz="832104">
              <a:spcBef>
                <a:spcPts val="600"/>
              </a:spcBef>
              <a:buSzTx/>
              <a:buNone/>
              <a:defRPr sz="1820">
                <a:solidFill>
                  <a:srgbClr val="003366"/>
                </a:solidFill>
              </a:defRPr>
            </a:pPr>
            <a:endParaRPr/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r>
              <a:t>• 	Sampling bias (low response rate ~ 41%)</a:t>
            </a:r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endParaRPr/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r>
              <a:t>•	Recall bias – data self reported</a:t>
            </a:r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endParaRPr/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r>
              <a:t>•	Setting – urban specialized clinic</a:t>
            </a:r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endParaRPr/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r>
              <a:t>•	May not be generalizable to broader community-based MSM</a:t>
            </a:r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endParaRPr/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r>
              <a:t>•	Testing - culture gono testing; poor sensitivity (~53%)</a:t>
            </a:r>
          </a:p>
          <a:p>
            <a:pPr marL="1248156" lvl="3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r>
              <a:t>•Underestimate true prevalence of rectal gono (as opposed to NAAT)</a:t>
            </a:r>
          </a:p>
          <a:p>
            <a:pPr marL="416052" lvl="1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endParaRPr/>
          </a:p>
          <a:p>
            <a:pPr marL="0" indent="0" defTabSz="832104">
              <a:spcBef>
                <a:spcPts val="400"/>
              </a:spcBef>
              <a:buClr>
                <a:srgbClr val="FFFFFF"/>
              </a:buClr>
              <a:buChar char="•"/>
              <a:defRPr sz="1820">
                <a:solidFill>
                  <a:srgbClr val="003366"/>
                </a:solidFill>
              </a:defRPr>
            </a:pPr>
            <a:r>
              <a:t>•	Cautious interpretation - wide CI of PAF (7-72%) and adjusted OR</a:t>
            </a:r>
          </a:p>
          <a:p>
            <a:pPr marL="832104" lvl="2" indent="0" defTabSz="832104">
              <a:spcBef>
                <a:spcPts val="400"/>
              </a:spcBef>
              <a:buClr>
                <a:srgbClr val="FFFFFF"/>
              </a:buClr>
              <a:defRPr sz="1820">
                <a:solidFill>
                  <a:srgbClr val="003366"/>
                </a:solidFill>
              </a:defRPr>
            </a:pPr>
            <a:r>
              <a:t> (1-5) of using partner’s saliva as a lubricant</a:t>
            </a:r>
          </a:p>
        </p:txBody>
      </p:sp>
    </p:spTree>
    <p:extLst>
      <p:ext uri="{BB962C8B-B14F-4D97-AF65-F5344CB8AC3E}">
        <p14:creationId xmlns:p14="http://schemas.microsoft.com/office/powerpoint/2010/main" val="2346043332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Shape 88"/>
          <p:cNvSpPr>
            <a:spLocks noGrp="1"/>
          </p:cNvSpPr>
          <p:nvPr>
            <p:ph type="title" idx="4294967295"/>
          </p:nvPr>
        </p:nvSpPr>
        <p:spPr>
          <a:xfrm>
            <a:off x="179390" y="411957"/>
            <a:ext cx="4679951" cy="54887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 fontScale="90000"/>
          </a:bodyPr>
          <a:lstStyle>
            <a:lvl1pPr>
              <a:defRPr sz="3200">
                <a:solidFill>
                  <a:srgbClr val="92D050"/>
                </a:solidFill>
              </a:defRPr>
            </a:lvl1pPr>
          </a:lstStyle>
          <a:p>
            <a:r>
              <a:t>Discussion</a:t>
            </a:r>
          </a:p>
        </p:txBody>
      </p:sp>
      <p:sp>
        <p:nvSpPr>
          <p:cNvPr id="89" name="Shape 89"/>
          <p:cNvSpPr>
            <a:spLocks noGrp="1"/>
          </p:cNvSpPr>
          <p:nvPr>
            <p:ph type="body" idx="4294967295"/>
          </p:nvPr>
        </p:nvSpPr>
        <p:spPr>
          <a:xfrm>
            <a:off x="179389" y="1059658"/>
            <a:ext cx="8488977" cy="3780235"/>
          </a:xfrm>
          <a:prstGeom prst="rect">
            <a:avLst/>
          </a:prstGeom>
          <a:solidFill>
            <a:schemeClr val="accent1">
              <a:alpha val="70195"/>
            </a:schemeClr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/>
          <a:p>
            <a:pPr>
              <a:spcBef>
                <a:spcPts val="500"/>
              </a:spcBef>
              <a:buClr>
                <a:srgbClr val="FFFFFF"/>
              </a:buClr>
              <a:buChar char="•"/>
              <a:defRPr sz="2400">
                <a:solidFill>
                  <a:srgbClr val="003366"/>
                </a:solidFill>
              </a:defRPr>
            </a:pPr>
            <a:r>
              <a:t>Potentially 1/3 of An GC may contribute to partner saliva use for anal sexual practices.</a:t>
            </a:r>
          </a:p>
          <a:p>
            <a:pPr>
              <a:buSzTx/>
              <a:buNone/>
              <a:defRPr sz="2400">
                <a:solidFill>
                  <a:srgbClr val="003366"/>
                </a:solidFill>
              </a:defRPr>
            </a:pPr>
            <a:endParaRPr/>
          </a:p>
          <a:p>
            <a:pPr>
              <a:spcBef>
                <a:spcPts val="500"/>
              </a:spcBef>
              <a:buClr>
                <a:srgbClr val="FFFFFF"/>
              </a:buClr>
              <a:buChar char="•"/>
              <a:defRPr sz="2400">
                <a:solidFill>
                  <a:srgbClr val="003366"/>
                </a:solidFill>
              </a:defRPr>
            </a:pPr>
            <a:r>
              <a:t>Saliva operating as a medium may be the key to understanding rectal infections</a:t>
            </a:r>
          </a:p>
          <a:p>
            <a:pPr>
              <a:buSzTx/>
              <a:buNone/>
              <a:defRPr sz="2400">
                <a:solidFill>
                  <a:srgbClr val="003366"/>
                </a:solidFill>
              </a:defRPr>
            </a:pPr>
            <a:endParaRPr/>
          </a:p>
          <a:p>
            <a:pPr>
              <a:spcBef>
                <a:spcPts val="500"/>
              </a:spcBef>
              <a:buClr>
                <a:srgbClr val="FFFFFF"/>
              </a:buClr>
              <a:buChar char="•"/>
              <a:defRPr sz="2400">
                <a:solidFill>
                  <a:srgbClr val="003366"/>
                </a:solidFill>
              </a:defRPr>
            </a:pPr>
            <a:r>
              <a:t>The public health implication is complex given that saliva is commonly used as part of sexual activity among MSM.</a:t>
            </a:r>
          </a:p>
        </p:txBody>
      </p:sp>
    </p:spTree>
    <p:extLst>
      <p:ext uri="{BB962C8B-B14F-4D97-AF65-F5344CB8AC3E}">
        <p14:creationId xmlns:p14="http://schemas.microsoft.com/office/powerpoint/2010/main" val="1222317152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MSHCMelbUniAlfred_PowerPointTemplate_Style3">
  <a:themeElements>
    <a:clrScheme name="MSHCMelbUniAlfred_PowerPointTemplate_Style3">
      <a:dk1>
        <a:srgbClr val="BBE0E3"/>
      </a:dk1>
      <a:lt1>
        <a:srgbClr val="00478E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MSHCMelbUniAlfred_PowerPointTemplate_Style3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MSHCMelbUniAlfred_PowerPointTemplate_Style3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478E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478E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</TotalTime>
  <Words>1249</Words>
  <Application>Microsoft Office PowerPoint</Application>
  <PresentationFormat>On-screen Show (16:9)</PresentationFormat>
  <Paragraphs>157</Paragraphs>
  <Slides>10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MSHCMelbUniAlfred_PowerPointTemplate_Style3</vt:lpstr>
      <vt:lpstr>NHS_CF_LN9471</vt:lpstr>
      <vt:lpstr>think-cell Slide</vt:lpstr>
      <vt:lpstr>Saliva use as a lubricant for anal sex is a risk factor for rectal gonorrhoea among men-who-have-sex-with-men, a new public health message: a cross sectional survey</vt:lpstr>
      <vt:lpstr>BACKGROUND</vt:lpstr>
      <vt:lpstr>Aim of Study</vt:lpstr>
      <vt:lpstr>Method</vt:lpstr>
      <vt:lpstr>Results</vt:lpstr>
      <vt:lpstr>Proportion of MSM who engaged in (a) receptive rimming, (b) receptive fingering or penis dipping, and (c) saliva use as a lubricant for anal sex, by age group and condom use for receptive anal intercourse. </vt:lpstr>
      <vt:lpstr>AOR and Risk factors for An GC among MSM</vt:lpstr>
      <vt:lpstr>Limitations </vt:lpstr>
      <vt:lpstr>Discussion</vt:lpstr>
      <vt:lpstr>PowerPoint Presentation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5</cp:revision>
  <dcterms:created xsi:type="dcterms:W3CDTF">2015-05-13T13:06:46Z</dcterms:created>
  <dcterms:modified xsi:type="dcterms:W3CDTF">2016-07-11T13:49:25Z</dcterms:modified>
</cp:coreProperties>
</file>